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</p:sldMasterIdLst>
  <p:notesMasterIdLst>
    <p:notesMasterId r:id="rId16"/>
  </p:notesMasterIdLst>
  <p:sldIdLst>
    <p:sldId id="272" r:id="rId6"/>
    <p:sldId id="257" r:id="rId7"/>
    <p:sldId id="258" r:id="rId8"/>
    <p:sldId id="260" r:id="rId9"/>
    <p:sldId id="261" r:id="rId10"/>
    <p:sldId id="262" r:id="rId11"/>
    <p:sldId id="263" r:id="rId12"/>
    <p:sldId id="264" r:id="rId13"/>
    <p:sldId id="265" r:id="rId14"/>
    <p:sldId id="26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ws, Chris" initials="AC" lastIdx="1" clrIdx="0">
    <p:extLst>
      <p:ext uri="{19B8F6BF-5375-455C-9EA6-DF929625EA0E}">
        <p15:presenceInfo xmlns:p15="http://schemas.microsoft.com/office/powerpoint/2012/main" userId="S-1-5-21-727530060-1425108022-637696952-116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80" autoAdjust="0"/>
  </p:normalViewPr>
  <p:slideViewPr>
    <p:cSldViewPr snapToGrid="0" showGuides="1">
      <p:cViewPr varScale="1">
        <p:scale>
          <a:sx n="98" d="100"/>
          <a:sy n="98" d="100"/>
        </p:scale>
        <p:origin x="72" y="19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153848616"/>
        <c:axId val="153849008"/>
      </c:barChart>
      <c:catAx>
        <c:axId val="153848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3849008"/>
        <c:crosses val="autoZero"/>
        <c:auto val="1"/>
        <c:lblAlgn val="ctr"/>
        <c:lblOffset val="100"/>
        <c:noMultiLvlLbl val="0"/>
      </c:catAx>
      <c:valAx>
        <c:axId val="153849008"/>
        <c:scaling>
          <c:orientation val="minMax"/>
          <c:min val="0"/>
        </c:scaling>
        <c:delete val="0"/>
        <c:axPos val="l"/>
        <c:numFmt formatCode="_([$$-409]* #,##0.0_);_([$$-409]* \(#,##0.0\);_([$$-409]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848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42"/>
        <c:overlap val="100"/>
        <c:axId val="535030552"/>
        <c:axId val="535030944"/>
      </c:barChart>
      <c:catAx>
        <c:axId val="535030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35030944"/>
        <c:crosses val="autoZero"/>
        <c:auto val="1"/>
        <c:lblAlgn val="ctr"/>
        <c:lblOffset val="100"/>
        <c:noMultiLvlLbl val="0"/>
      </c:catAx>
      <c:valAx>
        <c:axId val="535030944"/>
        <c:scaling>
          <c:orientation val="minMax"/>
          <c:min val="0"/>
        </c:scaling>
        <c:delete val="0"/>
        <c:axPos val="l"/>
        <c:numFmt formatCode="_([$$-409]* #,##0.0_);_([$$-409]* \(#,##0.0\);_([$$-409]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35030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2711A3-BC67-4292-902E-A558703D8096}" type="datetimeFigureOut">
              <a:rPr lang="en-US" smtClean="0"/>
              <a:pPr/>
              <a:t>3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D0A11F-E4EB-4D92-8510-8CD3076E6C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272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D0A11F-E4EB-4D92-8510-8CD3076E6C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3645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oper Standar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" y="207974"/>
            <a:ext cx="12200965" cy="68630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3813568" y="3898283"/>
            <a:ext cx="7802822" cy="647585"/>
          </a:xfrm>
          <a:noFill/>
          <a:ln w="9525">
            <a:noFill/>
            <a:miter lim="800000"/>
            <a:headEnd/>
            <a:tailEnd/>
          </a:ln>
        </p:spPr>
        <p:txBody>
          <a:bodyPr rtlCol="0" anchor="b">
            <a:noAutofit/>
          </a:bodyPr>
          <a:lstStyle>
            <a:lvl1pPr>
              <a:defRPr kumimoji="0" lang="en-US" sz="2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3813568" y="4582907"/>
            <a:ext cx="7802822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077" y="2943922"/>
            <a:ext cx="5895201" cy="954361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2090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40928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977940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5476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 -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16385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815975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392867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392457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968940" y="163211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968530" y="163211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918482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393434" y="2219418"/>
            <a:ext cx="3373722" cy="35565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/>
          <p:cNvGraphicFramePr/>
          <p:nvPr userDrawn="1"/>
        </p:nvGraphicFramePr>
        <p:xfrm>
          <a:off x="3998323" y="3443526"/>
          <a:ext cx="3679047" cy="2624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820901" y="2219417"/>
            <a:ext cx="3373722" cy="356201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 userDrawn="1"/>
        </p:nvSpPr>
        <p:spPr bwMode="invGray">
          <a:xfrm>
            <a:off x="980393" y="3200147"/>
            <a:ext cx="3133953" cy="3309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8898" tIns="44449" rIns="88898" bIns="44449" anchor="ctr"/>
          <a:lstStyle/>
          <a:p>
            <a:pPr algn="ctr" defTabSz="889000" eaLnBrk="0" hangingPunct="0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77656" y="2219417"/>
            <a:ext cx="3373722" cy="35622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hart Placeholder 23"/>
          <p:cNvSpPr>
            <a:spLocks noGrp="1"/>
          </p:cNvSpPr>
          <p:nvPr>
            <p:ph type="chart" sz="quarter" idx="10" hasCustomPrompt="1"/>
          </p:nvPr>
        </p:nvSpPr>
        <p:spPr>
          <a:xfrm>
            <a:off x="996977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801395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802584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805330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820900" y="1366284"/>
            <a:ext cx="10530478" cy="338554"/>
          </a:xfrm>
          <a:solidFill>
            <a:srgbClr val="00539F"/>
          </a:solidFill>
        </p:spPr>
        <p:txBody>
          <a:bodyPr anchor="ctr">
            <a:spAutoFit/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The Takeaway of the Trend</a:t>
            </a:r>
          </a:p>
        </p:txBody>
      </p:sp>
      <p:sp>
        <p:nvSpPr>
          <p:cNvPr id="20" name="Chart Placeholder 23"/>
          <p:cNvSpPr>
            <a:spLocks noGrp="1"/>
          </p:cNvSpPr>
          <p:nvPr>
            <p:ph type="chart" sz="quarter" idx="17" hasCustomPrompt="1"/>
          </p:nvPr>
        </p:nvSpPr>
        <p:spPr>
          <a:xfrm>
            <a:off x="4577556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1" name="Chart Placeholder 23"/>
          <p:cNvSpPr>
            <a:spLocks noGrp="1"/>
          </p:cNvSpPr>
          <p:nvPr>
            <p:ph type="chart" sz="quarter" idx="18" hasCustomPrompt="1"/>
          </p:nvPr>
        </p:nvSpPr>
        <p:spPr>
          <a:xfrm>
            <a:off x="8146073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11040154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0522" y="1114238"/>
            <a:ext cx="32489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24923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1868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23751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1866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23373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240710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223372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251866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95448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 hasCustomPrompt="1"/>
          </p:nvPr>
        </p:nvSpPr>
        <p:spPr>
          <a:xfrm>
            <a:off x="1230683" y="1528763"/>
            <a:ext cx="4687159" cy="2138180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256029" y="1536690"/>
            <a:ext cx="4681436" cy="2130061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1227914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6262975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7644" y="1114238"/>
            <a:ext cx="32440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32045" y="1140685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8990" y="113633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30873" y="3828939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8988" y="386542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6262975" y="1528762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56029" y="4236208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1235708" y="4236385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233371" y="1529325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48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09600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6232851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295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202157" y="6540501"/>
            <a:ext cx="941560" cy="365125"/>
          </a:xfrm>
          <a:prstGeom prst="rect">
            <a:avLst/>
          </a:prstGeom>
        </p:spPr>
        <p:txBody>
          <a:bodyPr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Date Placeholder 3"/>
          <p:cNvSpPr txBox="1">
            <a:spLocks/>
          </p:cNvSpPr>
          <p:nvPr userDrawn="1"/>
        </p:nvSpPr>
        <p:spPr>
          <a:xfrm>
            <a:off x="10042882" y="6539176"/>
            <a:ext cx="1809991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6551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oper Standar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2EA01D5-6692-4790-B544-53E42639D2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" y="-210315"/>
            <a:ext cx="12200965" cy="68630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traight Connector 12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965" y="6860712"/>
            <a:ext cx="12192000" cy="1587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D3D8C52F-ACEF-4266-9B0A-A66C3401FB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3568" y="3898283"/>
            <a:ext cx="7802822" cy="647585"/>
          </a:xfrm>
          <a:noFill/>
          <a:ln w="9525">
            <a:noFill/>
            <a:miter lim="800000"/>
            <a:headEnd/>
            <a:tailEnd/>
          </a:ln>
        </p:spPr>
        <p:txBody>
          <a:bodyPr rtlCol="0" anchor="b">
            <a:noAutofit/>
          </a:bodyPr>
          <a:lstStyle>
            <a:lvl1pPr>
              <a:defRPr kumimoji="0" lang="en-US" sz="28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1B4C41-AEF3-44D6-A080-1373CCF4D8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3568" y="4582907"/>
            <a:ext cx="7802822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6BB1A8-8F2F-4ABF-A0CA-58BDC3E304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5077" y="2943922"/>
            <a:ext cx="5895201" cy="954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788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219200"/>
            <a:ext cx="10972800" cy="5181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7593299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219200"/>
            <a:ext cx="10972800" cy="5181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4168136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3253923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18165"/>
            <a:ext cx="12192000" cy="49017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3100" y="2399568"/>
            <a:ext cx="7591044" cy="901701"/>
          </a:xfrm>
        </p:spPr>
        <p:txBody>
          <a:bodyPr/>
          <a:lstStyle>
            <a:lvl1pPr>
              <a:defRPr sz="2800"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943100" y="3571709"/>
            <a:ext cx="7591044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54775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193" y="3007729"/>
            <a:ext cx="1174962" cy="1214127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5198852" y="2373746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5198852" y="1851892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2460911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3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8" y="2751893"/>
            <a:ext cx="1507589" cy="1867732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 userDrawn="1"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 userDrawn="1"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198852" y="237620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198852" y="185435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19" name="Text Placeholder 1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22" name="Text Placeholder 13"/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6" name="Text Placeholder 1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24136326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007102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838200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095999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26767429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Objec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064175" y="1910265"/>
            <a:ext cx="6480125" cy="1751631"/>
          </a:xfrm>
          <a:ln>
            <a:noFill/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30829" y="1902675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0829" y="3903662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748955" y="1546728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23430" y="4267200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064175" y="4267200"/>
            <a:ext cx="6480125" cy="1751631"/>
          </a:xfrm>
          <a:ln>
            <a:noFill/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161266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82090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4409281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6" hasCustomPrompt="1"/>
          </p:nvPr>
        </p:nvSpPr>
        <p:spPr>
          <a:xfrm>
            <a:off x="7977940" y="1632400"/>
            <a:ext cx="3373437" cy="4463599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4623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 -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206922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208111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210857"/>
            <a:ext cx="337343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16385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815975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4392867" y="162560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4392457" y="162560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7968940" y="1632110"/>
            <a:ext cx="3373437" cy="447040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968530" y="1632110"/>
            <a:ext cx="3373438" cy="4470400"/>
          </a:xfrm>
        </p:spPr>
        <p:txBody>
          <a:bodyPr/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27225462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opics -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4393434" y="2219418"/>
            <a:ext cx="3373722" cy="355657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/>
          <p:cNvGraphicFramePr/>
          <p:nvPr userDrawn="1"/>
        </p:nvGraphicFramePr>
        <p:xfrm>
          <a:off x="3998323" y="3443526"/>
          <a:ext cx="3679047" cy="2624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820901" y="2219417"/>
            <a:ext cx="3373722" cy="356201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 userDrawn="1"/>
        </p:nvSpPr>
        <p:spPr bwMode="invGray">
          <a:xfrm>
            <a:off x="980393" y="3200147"/>
            <a:ext cx="3133953" cy="3309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88898" tIns="44449" rIns="88898" bIns="44449" anchor="ctr"/>
          <a:lstStyle/>
          <a:p>
            <a:pPr algn="ctr" defTabSz="889000" eaLnBrk="0" hangingPunct="0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7977656" y="2219417"/>
            <a:ext cx="3373722" cy="356221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endParaRPr lang="en-US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hart Placeholder 23"/>
          <p:cNvSpPr>
            <a:spLocks noGrp="1"/>
          </p:cNvSpPr>
          <p:nvPr>
            <p:ph type="chart" sz="quarter" idx="10" hasCustomPrompt="1"/>
          </p:nvPr>
        </p:nvSpPr>
        <p:spPr>
          <a:xfrm>
            <a:off x="996977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20901" y="1801395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392457" y="1802584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77941" y="1805330"/>
            <a:ext cx="3373437" cy="36353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FontTx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 of Graph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820900" y="1366284"/>
            <a:ext cx="10530478" cy="338554"/>
          </a:xfrm>
          <a:solidFill>
            <a:srgbClr val="00539F"/>
          </a:solidFill>
        </p:spPr>
        <p:txBody>
          <a:bodyPr anchor="ctr">
            <a:spAutoFit/>
          </a:bodyPr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The Takeaway of the Trend</a:t>
            </a:r>
          </a:p>
        </p:txBody>
      </p:sp>
      <p:sp>
        <p:nvSpPr>
          <p:cNvPr id="20" name="Chart Placeholder 23"/>
          <p:cNvSpPr>
            <a:spLocks noGrp="1"/>
          </p:cNvSpPr>
          <p:nvPr>
            <p:ph type="chart" sz="quarter" idx="17" hasCustomPrompt="1"/>
          </p:nvPr>
        </p:nvSpPr>
        <p:spPr>
          <a:xfrm>
            <a:off x="4577556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1" name="Chart Placeholder 23"/>
          <p:cNvSpPr>
            <a:spLocks noGrp="1"/>
          </p:cNvSpPr>
          <p:nvPr>
            <p:ph type="chart" sz="quarter" idx="18" hasCustomPrompt="1"/>
          </p:nvPr>
        </p:nvSpPr>
        <p:spPr>
          <a:xfrm>
            <a:off x="8146073" y="2317541"/>
            <a:ext cx="3036888" cy="3347893"/>
          </a:xfrm>
        </p:spPr>
        <p:txBody>
          <a:bodyPr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1400"/>
            </a:lvl1pPr>
          </a:lstStyle>
          <a:p>
            <a:pPr lvl="0"/>
            <a:r>
              <a:rPr lang="en-US" dirty="0"/>
              <a:t>Click icon below to add chart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1732051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2334990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0522" y="1114238"/>
            <a:ext cx="324898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24923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1868" y="1136331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23751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1866" y="3828939"/>
            <a:ext cx="4685397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23373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6240710" y="1556921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1223372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5" hasCustomPrompt="1"/>
          </p:nvPr>
        </p:nvSpPr>
        <p:spPr>
          <a:xfrm>
            <a:off x="6251866" y="4261509"/>
            <a:ext cx="4685776" cy="2110668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917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opic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8" hasCustomPrompt="1"/>
          </p:nvPr>
        </p:nvSpPr>
        <p:spPr>
          <a:xfrm>
            <a:off x="1230683" y="1528763"/>
            <a:ext cx="4687159" cy="2138180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9" hasCustomPrompt="1"/>
          </p:nvPr>
        </p:nvSpPr>
        <p:spPr>
          <a:xfrm>
            <a:off x="6256029" y="1536690"/>
            <a:ext cx="4681436" cy="2130061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9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1227914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20" name="Content Placeholder 8"/>
          <p:cNvSpPr>
            <a:spLocks noGrp="1"/>
          </p:cNvSpPr>
          <p:nvPr>
            <p:ph sz="quarter" idx="21" hasCustomPrompt="1"/>
          </p:nvPr>
        </p:nvSpPr>
        <p:spPr>
          <a:xfrm>
            <a:off x="6262975" y="4236208"/>
            <a:ext cx="4681436" cy="2129197"/>
          </a:xfrm>
          <a:ln>
            <a:noFill/>
          </a:ln>
        </p:spPr>
        <p:txBody>
          <a:bodyPr/>
          <a:lstStyle>
            <a:lvl1pPr marL="0" indent="0">
              <a:buNone/>
              <a:defRPr sz="11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hree topic – text” layout for a text version of this template) 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 bwMode="auto">
          <a:xfrm>
            <a:off x="1857644" y="1114238"/>
            <a:ext cx="324404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US" sz="3200" b="1" kern="1200" cap="all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sz="1600" cap="none" baseline="0" dirty="0">
                <a:solidFill>
                  <a:schemeClr val="bg1"/>
                </a:solidFill>
              </a:rPr>
              <a:t>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1232045" y="1140685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258990" y="113633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1230873" y="3828939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6258988" y="3865421"/>
            <a:ext cx="4678275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6262975" y="1528762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56029" y="4236208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1235708" y="4236385"/>
            <a:ext cx="4681436" cy="2137958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233371" y="1529325"/>
            <a:ext cx="4681436" cy="2138825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421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09600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6232851" y="1219199"/>
            <a:ext cx="5349549" cy="5184017"/>
          </a:xfrm>
        </p:spPr>
        <p:txBody>
          <a:bodyPr/>
          <a:lstStyle>
            <a:lvl1pPr>
              <a:spcBef>
                <a:spcPts val="576"/>
              </a:spcBef>
              <a:defRPr/>
            </a:lvl1pPr>
            <a:lvl2pPr>
              <a:spcBef>
                <a:spcPts val="480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384"/>
              </a:spcBef>
              <a:defRPr/>
            </a:lvl4pPr>
            <a:lvl5pPr>
              <a:spcBef>
                <a:spcPts val="384"/>
              </a:spcBef>
              <a:defRPr/>
            </a:lvl5pPr>
          </a:lstStyle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7288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303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oper 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055"/>
            <a:ext cx="10972800" cy="868366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cap="none" baseline="0" dirty="0">
                <a:solidFill>
                  <a:schemeClr val="tx1"/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087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fg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3727889" y="1795463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3727888" y="3115720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3727887" y="4431607"/>
            <a:ext cx="2297113" cy="120173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326416" y="2373746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6326416" y="1851892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6326416" y="3722254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6326416" y="3200400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6326416" y="5017654"/>
            <a:ext cx="4859548" cy="521854"/>
          </a:xfrm>
          <a:prstGeom prst="rect">
            <a:avLst/>
          </a:prstGeo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6326416" y="4495800"/>
            <a:ext cx="4859548" cy="521854"/>
          </a:xfrm>
          <a:prstGeom prst="rect">
            <a:avLst/>
          </a:prstGeo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055"/>
            <a:ext cx="10972800" cy="874927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US" dirty="0"/>
              <a:t>Click To Add Headline Her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63C518A-ECDC-479D-A317-22FACA337B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299" y="2665812"/>
            <a:ext cx="3531588" cy="176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82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5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oper Standa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055"/>
            <a:ext cx="10972800" cy="845035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 smtClean="0">
                <a:solidFill>
                  <a:srgbClr val="0070C0"/>
                </a:solidFill>
                <a:latin typeface="Arial" charset="0"/>
                <a:ea typeface="+mj-ea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609600" y="1084217"/>
            <a:ext cx="10972800" cy="5319000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267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traight Connector 1"/>
          <p:cNvSpPr/>
          <p:nvPr/>
        </p:nvSpPr>
        <p:spPr>
          <a:xfrm flipV="1">
            <a:off x="0" y="6858000"/>
            <a:ext cx="12204700" cy="0"/>
          </a:xfrm>
          <a:prstGeom prst="lineInv">
            <a:avLst/>
          </a:prstGeom>
          <a:noFill/>
          <a:ln w="88900" cap="rnd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endParaRPr sz="100" dirty="0"/>
          </a:p>
        </p:txBody>
      </p:sp>
      <p:pic>
        <p:nvPicPr>
          <p:cNvPr id="3" name="Picture 2" descr="image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6515100"/>
            <a:ext cx="1524000" cy="25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91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8525"/>
          <a:stretch/>
        </p:blipFill>
        <p:spPr>
          <a:xfrm>
            <a:off x="0" y="1918165"/>
            <a:ext cx="12192000" cy="490173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3100" y="2399568"/>
            <a:ext cx="7591044" cy="901701"/>
          </a:xfrm>
        </p:spPr>
        <p:txBody>
          <a:bodyPr/>
          <a:lstStyle>
            <a:lvl1pPr>
              <a:defRPr sz="28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943100" y="3571709"/>
            <a:ext cx="7591044" cy="567267"/>
          </a:xfrm>
        </p:spPr>
        <p:txBody>
          <a:bodyPr>
            <a:noAutofit/>
          </a:bodyPr>
          <a:lstStyle>
            <a:lvl1pPr marL="0" indent="0" algn="l">
              <a:buNone/>
              <a:def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6858000"/>
            <a:ext cx="12200965" cy="4299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9043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S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93" y="3007729"/>
            <a:ext cx="1174962" cy="1214127"/>
          </a:xfrm>
          <a:prstGeom prst="rect">
            <a:avLst/>
          </a:prstGeom>
        </p:spPr>
      </p:pic>
      <p:sp>
        <p:nvSpPr>
          <p:cNvPr id="13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5198852" y="2373746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5" hasCustomPrompt="1"/>
          </p:nvPr>
        </p:nvSpPr>
        <p:spPr>
          <a:xfrm>
            <a:off x="5198852" y="1851892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37271334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3 Photo Bri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488" y="2751893"/>
            <a:ext cx="1507589" cy="1867732"/>
          </a:xfrm>
          <a:prstGeom prst="rect">
            <a:avLst/>
          </a:prstGeom>
        </p:spPr>
      </p:pic>
      <p:cxnSp>
        <p:nvCxnSpPr>
          <p:cNvPr id="16" name="Straight Connector 15"/>
          <p:cNvCxnSpPr/>
          <p:nvPr/>
        </p:nvCxnSpPr>
        <p:spPr>
          <a:xfrm flipH="1">
            <a:off x="2497514" y="1795795"/>
            <a:ext cx="5054" cy="383754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Picture Placeholder 22"/>
          <p:cNvSpPr>
            <a:spLocks noGrp="1"/>
          </p:cNvSpPr>
          <p:nvPr userDrawn="1">
            <p:ph type="pic" sz="quarter" idx="10"/>
          </p:nvPr>
        </p:nvSpPr>
        <p:spPr>
          <a:xfrm>
            <a:off x="2600325" y="1795463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Picture Placeholder 22"/>
          <p:cNvSpPr>
            <a:spLocks noGrp="1"/>
          </p:cNvSpPr>
          <p:nvPr userDrawn="1">
            <p:ph type="pic" sz="quarter" idx="11"/>
          </p:nvPr>
        </p:nvSpPr>
        <p:spPr>
          <a:xfrm>
            <a:off x="2600324" y="3115720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2"/>
          <p:cNvSpPr>
            <a:spLocks noGrp="1"/>
          </p:cNvSpPr>
          <p:nvPr userDrawn="1">
            <p:ph type="pic" sz="quarter" idx="12"/>
          </p:nvPr>
        </p:nvSpPr>
        <p:spPr>
          <a:xfrm>
            <a:off x="2600323" y="4431607"/>
            <a:ext cx="2297113" cy="1201737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5198852" y="237620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17" name="Text Placeholder 1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5198852" y="185435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19" name="Text Placeholder 1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5198852" y="37222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1" name="Text Placeholder 1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5198852" y="32004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Topic</a:t>
            </a:r>
          </a:p>
        </p:txBody>
      </p:sp>
      <p:sp>
        <p:nvSpPr>
          <p:cNvPr id="22" name="Text Placeholder 13"/>
          <p:cNvSpPr>
            <a:spLocks noGrp="1"/>
          </p:cNvSpPr>
          <p:nvPr userDrawn="1">
            <p:ph type="body" sz="quarter" idx="28" hasCustomPrompt="1"/>
          </p:nvPr>
        </p:nvSpPr>
        <p:spPr>
          <a:xfrm>
            <a:off x="5198852" y="5017654"/>
            <a:ext cx="4859548" cy="521854"/>
          </a:xfrm>
          <a:noFill/>
        </p:spPr>
        <p:txBody>
          <a:bodyPr anchor="t"/>
          <a:lstStyle>
            <a:lvl1pPr marL="0" indent="0" algn="l">
              <a:buFontTx/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ontent (One sentence describing the title)</a:t>
            </a:r>
          </a:p>
        </p:txBody>
      </p:sp>
      <p:sp>
        <p:nvSpPr>
          <p:cNvPr id="26" name="Text Placeholder 13"/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5198852" y="4495800"/>
            <a:ext cx="4859548" cy="521854"/>
          </a:xfrm>
          <a:noFill/>
        </p:spPr>
        <p:txBody>
          <a:bodyPr anchor="b"/>
          <a:lstStyle>
            <a:lvl1pPr marL="0" indent="0" algn="l">
              <a:buFontTx/>
              <a:buNone/>
              <a:defRPr sz="2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pporting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Add Headline Here (The “So What” of the Slide)</a:t>
            </a:r>
          </a:p>
        </p:txBody>
      </p:sp>
    </p:spTree>
    <p:extLst>
      <p:ext uri="{BB962C8B-B14F-4D97-AF65-F5344CB8AC3E}">
        <p14:creationId xmlns:p14="http://schemas.microsoft.com/office/powerpoint/2010/main" val="1530710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8382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6096000" y="1876425"/>
            <a:ext cx="4951413" cy="4391025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 </a:t>
            </a:r>
            <a:br>
              <a:rPr lang="en-US" dirty="0"/>
            </a:br>
            <a:r>
              <a:rPr lang="en-US" dirty="0"/>
              <a:t>(avoid complete sentences)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0429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- Objects/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lang="en-US" sz="1800" b="1" kern="1200" baseline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0" y="1466325"/>
            <a:ext cx="4951605" cy="385297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838200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 Here (What Do These Two Items Indicate)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095999" y="1873899"/>
            <a:ext cx="4951605" cy="4390952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119063" indent="0">
              <a:spcBef>
                <a:spcPts val="1800"/>
              </a:spcBef>
              <a:buNone/>
              <a:defRPr sz="1200"/>
            </a:lvl1pPr>
            <a:lvl2pPr marL="798513" indent="-285750">
              <a:spcBef>
                <a:spcPts val="300"/>
              </a:spcBef>
              <a:defRPr sz="1800"/>
            </a:lvl2pPr>
            <a:lvl3pPr>
              <a:spcBef>
                <a:spcPts val="300"/>
              </a:spcBef>
              <a:defRPr sz="1400"/>
            </a:lvl3pPr>
            <a:lvl4pPr>
              <a:spcBef>
                <a:spcPts val="300"/>
              </a:spcBef>
              <a:defRPr sz="1200"/>
            </a:lvl4pPr>
            <a:lvl5pPr>
              <a:spcBef>
                <a:spcPts val="300"/>
              </a:spcBef>
              <a:defRPr sz="1200"/>
            </a:lvl5pPr>
          </a:lstStyle>
          <a:p>
            <a:pPr lvl="0"/>
            <a:r>
              <a:rPr lang="en-US" dirty="0"/>
              <a:t>Click icon below to add object </a:t>
            </a:r>
            <a:br>
              <a:rPr lang="en-US" dirty="0"/>
            </a:br>
            <a:r>
              <a:rPr lang="en-US" dirty="0"/>
              <a:t>(use “Two topic – text” layout for a text version of this template) </a:t>
            </a:r>
          </a:p>
        </p:txBody>
      </p:sp>
    </p:spTree>
    <p:extLst>
      <p:ext uri="{BB962C8B-B14F-4D97-AF65-F5344CB8AC3E}">
        <p14:creationId xmlns:p14="http://schemas.microsoft.com/office/powerpoint/2010/main" val="4131617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opics Objec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064175" y="1910265"/>
            <a:ext cx="6480125" cy="1751631"/>
          </a:xfrm>
          <a:ln>
            <a:noFill/>
          </a:ln>
        </p:spPr>
        <p:txBody>
          <a:bodyPr/>
          <a:lstStyle>
            <a:lvl1pPr>
              <a:defRPr sz="1800" baseline="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730829" y="1902675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730829" y="3903662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748955" y="1546728"/>
            <a:ext cx="4187549" cy="363538"/>
          </a:xfrm>
          <a:solidFill>
            <a:srgbClr val="00539F"/>
          </a:solidFill>
        </p:spPr>
        <p:txBody>
          <a:bodyPr anchor="ctr"/>
          <a:lstStyle>
            <a:lvl1pPr mar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marL="0" lvl="0" indent="0" algn="ctr" defTabSz="457200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</a:pPr>
            <a:r>
              <a:rPr lang="en-US" dirty="0"/>
              <a:t>Add Supporting Headlin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862299"/>
            <a:ext cx="12200965" cy="0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17474"/>
            <a:ext cx="10972800" cy="9493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Add Headline: What Do These Items Indicat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723430" y="4267200"/>
            <a:ext cx="4187550" cy="1759221"/>
          </a:xfrm>
          <a:ln>
            <a:solidFill>
              <a:schemeClr val="bg1">
                <a:lumMod val="75000"/>
              </a:schemeClr>
            </a:solidFill>
          </a:ln>
        </p:spPr>
        <p:txBody>
          <a:bodyPr/>
          <a:lstStyle>
            <a:lvl1pPr marL="0" indent="0">
              <a:buNone/>
              <a:defRPr sz="1400" baseline="0"/>
            </a:lvl1pPr>
          </a:lstStyle>
          <a:p>
            <a:pPr lvl="0"/>
            <a:r>
              <a:rPr lang="en-US" dirty="0"/>
              <a:t>Click icon below to add objec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5064175" y="4267200"/>
            <a:ext cx="6480125" cy="1751631"/>
          </a:xfrm>
          <a:ln>
            <a:noFill/>
          </a:ln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add supporting statem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3375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0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7475"/>
            <a:ext cx="10972800" cy="94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dd Headline Here (The “So What” of the Slide)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219199"/>
            <a:ext cx="10972800" cy="519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1202157" y="6477000"/>
            <a:ext cx="941560" cy="36512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842125"/>
            <a:ext cx="12200965" cy="20174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10869"/>
            <a:ext cx="1524000" cy="24817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80" r:id="rId3"/>
    <p:sldLayoutId id="2147483666" r:id="rId4"/>
    <p:sldLayoutId id="2147483667" r:id="rId5"/>
    <p:sldLayoutId id="2147483668" r:id="rId6"/>
    <p:sldLayoutId id="2147483669" r:id="rId7"/>
    <p:sldLayoutId id="2147483683" r:id="rId8"/>
    <p:sldLayoutId id="2147483671" r:id="rId9"/>
    <p:sldLayoutId id="2147483673" r:id="rId10"/>
    <p:sldLayoutId id="2147483681" r:id="rId11"/>
    <p:sldLayoutId id="2147483675" r:id="rId12"/>
    <p:sldLayoutId id="2147483672" r:id="rId13"/>
    <p:sldLayoutId id="2147483682" r:id="rId14"/>
    <p:sldLayoutId id="2147483663" r:id="rId15"/>
    <p:sldLayoutId id="2147483685" r:id="rId16"/>
    <p:sldLayoutId id="2147483686" r:id="rId17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charset="0"/>
          <a:ea typeface="+mj-ea"/>
          <a:cs typeface="Arial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ts val="576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fontAlgn="base" hangingPunct="1">
        <a:spcBef>
          <a:spcPts val="48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fontAlgn="base" hangingPunct="1">
        <a:spcBef>
          <a:spcPts val="432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117475"/>
            <a:ext cx="10972800" cy="94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dd Headline Here (The “So What” of the Slide)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219199"/>
            <a:ext cx="10972800" cy="519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Insert short supporting statement (avoid complete sentences)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11202157" y="6477000"/>
            <a:ext cx="941560" cy="365125"/>
          </a:xfrm>
          <a:prstGeom prst="rect">
            <a:avLst/>
          </a:prstGeom>
        </p:spPr>
        <p:txBody>
          <a:bodyPr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defTabSz="457200">
              <a:defRPr/>
            </a:pPr>
            <a:fld id="{DC66650F-1B42-49C2-AE3F-C3CB5C7C31FE}" type="slidenum">
              <a:rPr lang="en-US" sz="100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defTabSz="457200">
                <a:defRPr/>
              </a:pPr>
              <a:t>‹#›</a:t>
            </a:fld>
            <a:endParaRPr lang="en-US" sz="1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842125"/>
            <a:ext cx="12200965" cy="20174"/>
          </a:xfrm>
          <a:prstGeom prst="line">
            <a:avLst/>
          </a:prstGeom>
          <a:ln w="85725">
            <a:solidFill>
              <a:srgbClr val="FFC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10869"/>
            <a:ext cx="1524000" cy="248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838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2800" b="1" kern="1200" dirty="0">
          <a:solidFill>
            <a:schemeClr val="tx1"/>
          </a:solidFill>
          <a:latin typeface="Arial" charset="0"/>
          <a:ea typeface="+mj-ea"/>
          <a:cs typeface="Arial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0C0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rgbClr val="7F7F7F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ts val="576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fontAlgn="base" hangingPunct="1">
        <a:spcBef>
          <a:spcPts val="48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fontAlgn="base" hangingPunct="1">
        <a:spcBef>
          <a:spcPts val="432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fontAlgn="base" hangingPunct="1">
        <a:spcBef>
          <a:spcPts val="384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mp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mailto:jngoldsmith@cooperstandard.com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mp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tmp"/><Relationship Id="rId2" Type="http://schemas.openxmlformats.org/officeDocument/2006/relationships/image" Target="../media/image17.tmp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mp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tmp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 txBox="1">
            <a:spLocks/>
          </p:cNvSpPr>
          <p:nvPr/>
        </p:nvSpPr>
        <p:spPr bwMode="auto">
          <a:xfrm>
            <a:off x="3865846" y="3839976"/>
            <a:ext cx="6450249" cy="510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kumimoji="0" lang="en-US" sz="36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rgbClr val="7F7F7F"/>
                </a:solidFill>
                <a:latin typeface="Calibri" pitchFamily="34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Sap User administrat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2AA5BF7-80EC-43EC-B819-3953DECE28D7}"/>
              </a:ext>
            </a:extLst>
          </p:cNvPr>
          <p:cNvSpPr txBox="1"/>
          <p:nvPr/>
        </p:nvSpPr>
        <p:spPr>
          <a:xfrm>
            <a:off x="3865846" y="4297843"/>
            <a:ext cx="35269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ean Up 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o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5229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C5C0B03-2AE8-48EE-A41F-5C0B2B96ED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6190" y="1375794"/>
            <a:ext cx="6367245" cy="4244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618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552B0D-8FA6-45D1-A67E-6D61185ED4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3869F8-73F4-4FE3-BA93-273C3E453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u="sng" dirty="0"/>
              <a:t>Introduction</a:t>
            </a:r>
          </a:p>
          <a:p>
            <a:pPr lvl="1"/>
            <a:r>
              <a:rPr lang="en-US" dirty="0"/>
              <a:t>Jessica</a:t>
            </a:r>
          </a:p>
          <a:p>
            <a:pPr lvl="1"/>
            <a:r>
              <a:rPr lang="en-US" dirty="0"/>
              <a:t>Our company</a:t>
            </a:r>
          </a:p>
          <a:p>
            <a:pPr lvl="1"/>
            <a:r>
              <a:rPr lang="en-US" dirty="0"/>
              <a:t>Environment, challenges</a:t>
            </a:r>
          </a:p>
          <a:p>
            <a:pPr lvl="1"/>
            <a:endParaRPr lang="en-US" dirty="0"/>
          </a:p>
          <a:p>
            <a:r>
              <a:rPr lang="en-US" u="sng" dirty="0"/>
              <a:t>SW Implementation</a:t>
            </a:r>
          </a:p>
          <a:p>
            <a:pPr lvl="1"/>
            <a:r>
              <a:rPr lang="en-US" dirty="0"/>
              <a:t>Standardize Approval Workflows</a:t>
            </a:r>
          </a:p>
          <a:p>
            <a:pPr lvl="1"/>
            <a:r>
              <a:rPr lang="en-US" dirty="0"/>
              <a:t>Remove Unused Roles</a:t>
            </a:r>
          </a:p>
          <a:p>
            <a:pPr lvl="1"/>
            <a:r>
              <a:rPr lang="en-US" dirty="0"/>
              <a:t>Periodic Access Review</a:t>
            </a:r>
          </a:p>
          <a:p>
            <a:pPr lvl="1"/>
            <a:endParaRPr lang="en-US" dirty="0"/>
          </a:p>
          <a:p>
            <a:r>
              <a:rPr lang="en-US" u="sng" dirty="0"/>
              <a:t>Wrap-Up &amp; Questions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9F80E11-0340-4C65-8480-350B61600C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3669" y="980680"/>
            <a:ext cx="4039164" cy="2829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546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A46F5A-D8EA-4C4F-A92B-9DB457231F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800" dirty="0"/>
              <a:t>Jessica Goldsmith – Lead System Administrator</a:t>
            </a:r>
          </a:p>
          <a:p>
            <a:pPr lvl="1"/>
            <a:r>
              <a:rPr lang="en-US" sz="1800" dirty="0">
                <a:hlinkClick r:id="rId2"/>
              </a:rPr>
              <a:t>jngoldsmith@cooperstandard.com</a:t>
            </a:r>
            <a:endParaRPr lang="en-US" sz="1800" dirty="0"/>
          </a:p>
          <a:p>
            <a:pPr lvl="1"/>
            <a:endParaRPr lang="en-US" sz="1800" dirty="0"/>
          </a:p>
          <a:p>
            <a:r>
              <a:rPr lang="en-US" sz="1800" dirty="0"/>
              <a:t>Cooper Standard</a:t>
            </a:r>
          </a:p>
          <a:p>
            <a:pPr lvl="1"/>
            <a:r>
              <a:rPr lang="en-US" sz="1800" dirty="0"/>
              <a:t>Global material science &amp; manufacturing</a:t>
            </a:r>
          </a:p>
          <a:p>
            <a:pPr lvl="2"/>
            <a:r>
              <a:rPr lang="en-US" dirty="0"/>
              <a:t>Develop materials, systems &amp; components</a:t>
            </a:r>
          </a:p>
          <a:p>
            <a:pPr lvl="1"/>
            <a:r>
              <a:rPr lang="en-US" sz="1800" dirty="0"/>
              <a:t>21 countries</a:t>
            </a:r>
          </a:p>
          <a:p>
            <a:pPr lvl="1"/>
            <a:r>
              <a:rPr lang="en-US" sz="1800" dirty="0"/>
              <a:t>25K employees</a:t>
            </a:r>
          </a:p>
          <a:p>
            <a:pPr marL="457200" lvl="1" indent="0">
              <a:buNone/>
            </a:pPr>
            <a:endParaRPr lang="en-US" sz="1800" dirty="0"/>
          </a:p>
          <a:p>
            <a:r>
              <a:rPr lang="en-US" sz="1800" dirty="0"/>
              <a:t>SAP Shop – 74 sites on SAP</a:t>
            </a:r>
          </a:p>
          <a:p>
            <a:pPr lvl="1"/>
            <a:r>
              <a:rPr lang="en-US" sz="1800" dirty="0"/>
              <a:t>Moved to S/4 Hana February 2020</a:t>
            </a:r>
          </a:p>
          <a:p>
            <a:pPr lvl="1"/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77B079-7947-4A87-9B4E-B34616F10B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CEE319F-0BA1-4D1E-9388-7C63AFDB0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271" y="1066799"/>
            <a:ext cx="3638550" cy="360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343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F035516-AA75-4A38-B033-7ED7554E39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ccess Reques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1049BAD-1DAD-4C5C-956B-3BCD293A0A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oles &amp; Violation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A6F97C2-1D02-47E1-B018-CB4747E8FC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Periodic Access Review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CD95ED-5BDD-44EA-83C3-8D860B0F5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963C331-2C8D-4D06-991B-5F085ED8295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Multiple access request systems</a:t>
            </a:r>
          </a:p>
          <a:p>
            <a:r>
              <a:rPr lang="en-US" dirty="0"/>
              <a:t>Proper approver channels</a:t>
            </a:r>
          </a:p>
          <a:p>
            <a:r>
              <a:rPr lang="en-US" dirty="0"/>
              <a:t>Ticket/email exchange</a:t>
            </a:r>
          </a:p>
          <a:p>
            <a:r>
              <a:rPr lang="en-US" dirty="0"/>
              <a:t>Manual process</a:t>
            </a:r>
          </a:p>
          <a:p>
            <a:r>
              <a:rPr lang="en-US" dirty="0"/>
              <a:t>No control</a:t>
            </a:r>
          </a:p>
          <a:p>
            <a:r>
              <a:rPr lang="en-US" dirty="0"/>
              <a:t>SAP requests increasing dramatically</a:t>
            </a:r>
          </a:p>
          <a:p>
            <a:r>
              <a:rPr lang="en-US" dirty="0"/>
              <a:t>Managing SAP Go-Liv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0078E6E-5ED9-4874-972E-5E8ECC68BA9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No one reviewing historical access</a:t>
            </a:r>
          </a:p>
          <a:p>
            <a:r>
              <a:rPr lang="en-US" dirty="0"/>
              <a:t>Users normally copy others</a:t>
            </a:r>
          </a:p>
          <a:p>
            <a:r>
              <a:rPr lang="en-US" dirty="0"/>
              <a:t>Too many controls to perform</a:t>
            </a:r>
          </a:p>
          <a:p>
            <a:r>
              <a:rPr lang="en-US" dirty="0"/>
              <a:t>Too many violations total</a:t>
            </a:r>
          </a:p>
          <a:p>
            <a:r>
              <a:rPr lang="en-US" dirty="0"/>
              <a:t>Audit pushing to clean up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CD3E79A-1FCA-4615-B010-F6F06F5A737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Done manually in SharePoint</a:t>
            </a:r>
          </a:p>
          <a:p>
            <a:pPr lvl="1"/>
            <a:r>
              <a:rPr lang="en-US" dirty="0"/>
              <a:t>Reports run</a:t>
            </a:r>
          </a:p>
          <a:p>
            <a:pPr lvl="1"/>
            <a:r>
              <a:rPr lang="en-US" dirty="0"/>
              <a:t>Reports posted</a:t>
            </a:r>
          </a:p>
          <a:p>
            <a:pPr lvl="1"/>
            <a:r>
              <a:rPr lang="en-US" dirty="0"/>
              <a:t>Send email</a:t>
            </a:r>
          </a:p>
          <a:p>
            <a:pPr lvl="1"/>
            <a:r>
              <a:rPr lang="en-US" dirty="0"/>
              <a:t>Gather approvals/changes</a:t>
            </a:r>
          </a:p>
          <a:p>
            <a:pPr lvl="1"/>
            <a:r>
              <a:rPr lang="en-US" dirty="0"/>
              <a:t>Get sign off</a:t>
            </a:r>
          </a:p>
          <a:p>
            <a:r>
              <a:rPr lang="en-US" dirty="0"/>
              <a:t>Difficult for admin to manage and track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93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3195A22-90D4-4A49-9705-992B41FF5B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at issues were we trying to solve?</a:t>
            </a:r>
          </a:p>
          <a:p>
            <a:pPr lvl="1"/>
            <a:r>
              <a:rPr lang="en-US" dirty="0"/>
              <a:t>Correct/complete approvals</a:t>
            </a:r>
          </a:p>
          <a:p>
            <a:pPr lvl="1"/>
            <a:r>
              <a:rPr lang="en-US" dirty="0"/>
              <a:t>Efficiency, ticket and email back and forth</a:t>
            </a:r>
          </a:p>
          <a:p>
            <a:pPr lvl="1"/>
            <a:r>
              <a:rPr lang="en-US" dirty="0"/>
              <a:t>What process needed for which IT application</a:t>
            </a:r>
          </a:p>
          <a:p>
            <a:r>
              <a:rPr lang="en-US" dirty="0"/>
              <a:t>Allows for automated approval workflows</a:t>
            </a:r>
          </a:p>
          <a:p>
            <a:pPr lvl="1"/>
            <a:r>
              <a:rPr lang="en-US" dirty="0"/>
              <a:t>Streamline approval process</a:t>
            </a:r>
          </a:p>
          <a:p>
            <a:pPr lvl="1"/>
            <a:r>
              <a:rPr lang="en-US" dirty="0"/>
              <a:t>Same UI for multiple ERP Systems</a:t>
            </a:r>
          </a:p>
          <a:p>
            <a:r>
              <a:rPr lang="en-US" dirty="0"/>
              <a:t>SOD or no SOD</a:t>
            </a:r>
          </a:p>
          <a:p>
            <a:r>
              <a:rPr lang="en-US" dirty="0"/>
              <a:t>SAP is auto assign, no touch by administrator</a:t>
            </a:r>
          </a:p>
          <a:p>
            <a:r>
              <a:rPr lang="en-US" dirty="0"/>
              <a:t>Other ERP systems (non SAP) get alerted by email</a:t>
            </a:r>
          </a:p>
          <a:p>
            <a:pPr lvl="1"/>
            <a:r>
              <a:rPr lang="en-US" dirty="0"/>
              <a:t>CS has email to generate ticket</a:t>
            </a:r>
          </a:p>
          <a:p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5A97C8C-790E-4FF2-BE75-16FD5CE05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izing Workflow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A4F4F2F-37FF-446D-AA82-8AB962F7BC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9807" y="1263058"/>
            <a:ext cx="3958198" cy="254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1004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7C5DE03-6354-463C-8513-C328CE170E0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onnection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9A47284-8C24-43A1-8122-C76BBEE746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400" dirty="0" err="1"/>
              <a:t>CooperStandard</a:t>
            </a:r>
            <a:r>
              <a:rPr lang="en-US" sz="1400" dirty="0"/>
              <a:t> &amp; Security Weav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1E1EB-9C2B-4479-BEE9-BA9A1133D53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equester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CBF69D0-677A-4843-A479-495CF1EFC1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ecurePro</a:t>
            </a:r>
            <a:r>
              <a:rPr lang="en-US" dirty="0"/>
              <a:t> – Front End</a:t>
            </a:r>
          </a:p>
        </p:txBody>
      </p:sp>
      <p:pic>
        <p:nvPicPr>
          <p:cNvPr id="22" name="Content Placeholder 11">
            <a:extLst>
              <a:ext uri="{FF2B5EF4-FFF2-40B4-BE49-F238E27FC236}">
                <a16:creationId xmlns:a16="http://schemas.microsoft.com/office/drawing/2014/main" id="{44AA0D43-0D99-48F5-B0BD-E6EC753F0065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345" y="3044536"/>
            <a:ext cx="3209705" cy="1720282"/>
          </a:xfrm>
        </p:spPr>
      </p:pic>
      <p:pic>
        <p:nvPicPr>
          <p:cNvPr id="23" name="Content Placeholder 13">
            <a:extLst>
              <a:ext uri="{FF2B5EF4-FFF2-40B4-BE49-F238E27FC236}">
                <a16:creationId xmlns:a16="http://schemas.microsoft.com/office/drawing/2014/main" id="{67CBB8FF-6C44-459F-BD0D-A5E0D0FEBF41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7967" y="2257200"/>
            <a:ext cx="2896004" cy="3219899"/>
          </a:xfrm>
        </p:spPr>
      </p:pic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09E8E33-DB49-4B32-B1AB-853BB545C892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4"/>
          <a:stretch>
            <a:fillRect/>
          </a:stretch>
        </p:blipFill>
        <p:spPr>
          <a:xfrm>
            <a:off x="1205933" y="2134048"/>
            <a:ext cx="2569239" cy="3590925"/>
          </a:xfrm>
        </p:spPr>
      </p:pic>
    </p:spTree>
    <p:extLst>
      <p:ext uri="{BB962C8B-B14F-4D97-AF65-F5344CB8AC3E}">
        <p14:creationId xmlns:p14="http://schemas.microsoft.com/office/powerpoint/2010/main" val="4236628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A8036A-F441-45AF-A866-9FAE249FE1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at does it tell you?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D6F266-E4D1-4FD6-8FDD-8DF4F4C122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hat can it help you do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C711A87-AF29-4B1D-9D97-CBA7344ADE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How it helped Cooper Standard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4F23F360-D0DF-4CAD-BE52-4727729B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oving Unused Ro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5D6B9E6-B794-4322-973E-8CC75D0959F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Who used a specific transaction code?</a:t>
            </a:r>
          </a:p>
          <a:p>
            <a:r>
              <a:rPr lang="en-US" dirty="0"/>
              <a:t>Who used a specific role in a time period – or ever?</a:t>
            </a:r>
          </a:p>
          <a:p>
            <a:r>
              <a:rPr lang="en-US" dirty="0"/>
              <a:t>How many roles do they have that are currently unused?</a:t>
            </a:r>
          </a:p>
          <a:p>
            <a:r>
              <a:rPr lang="en-US" dirty="0"/>
              <a:t>Which transactions are they using in each role?</a:t>
            </a:r>
          </a:p>
          <a:p>
            <a:r>
              <a:rPr lang="en-US" dirty="0"/>
              <a:t>Which ones aren’t they using?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1E053F2-1761-4B68-ACA0-AFE3DE229B2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US" dirty="0"/>
              <a:t>Remove unused transactions in role design</a:t>
            </a:r>
          </a:p>
          <a:p>
            <a:r>
              <a:rPr lang="en-US" dirty="0"/>
              <a:t>Remove unused roles </a:t>
            </a:r>
          </a:p>
          <a:p>
            <a:r>
              <a:rPr lang="en-US" dirty="0"/>
              <a:t>Remove unnecessary violations </a:t>
            </a:r>
          </a:p>
          <a:p>
            <a:r>
              <a:rPr lang="en-US" dirty="0"/>
              <a:t>Verify changes</a:t>
            </a:r>
          </a:p>
          <a:p>
            <a:r>
              <a:rPr lang="en-US" dirty="0"/>
              <a:t>Provides action detail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D7A300-43E4-4976-92A4-E071F841114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/>
              <a:t>61K roles of 76.5K removed</a:t>
            </a:r>
          </a:p>
          <a:p>
            <a:pPr lvl="1"/>
            <a:r>
              <a:rPr lang="en-US" dirty="0"/>
              <a:t>80% reduction</a:t>
            </a:r>
          </a:p>
          <a:p>
            <a:r>
              <a:rPr lang="en-US" dirty="0"/>
              <a:t>4.5K SOD violations of 11K eliminated</a:t>
            </a:r>
          </a:p>
          <a:p>
            <a:pPr lvl="1"/>
            <a:r>
              <a:rPr lang="en-US" dirty="0"/>
              <a:t>40% reduction</a:t>
            </a:r>
          </a:p>
          <a:p>
            <a:r>
              <a:rPr lang="en-US" dirty="0"/>
              <a:t>3700 users</a:t>
            </a:r>
          </a:p>
          <a:p>
            <a:r>
              <a:rPr lang="en-US" dirty="0"/>
              <a:t>SAP Go Live process</a:t>
            </a:r>
          </a:p>
          <a:p>
            <a:r>
              <a:rPr lang="en-US" dirty="0"/>
              <a:t>Ongoing maintenance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3578AB8-58E0-4A54-9389-0EA9079742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149" y="4987965"/>
            <a:ext cx="1948254" cy="1548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3125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E7FF70-FEF1-4B1F-B55F-21B109AC65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evious process:</a:t>
            </a:r>
          </a:p>
          <a:p>
            <a:pPr lvl="1"/>
            <a:r>
              <a:rPr lang="en-US" dirty="0"/>
              <a:t>Created reports manually</a:t>
            </a:r>
          </a:p>
          <a:p>
            <a:pPr lvl="1"/>
            <a:r>
              <a:rPr lang="en-US" dirty="0"/>
              <a:t>Posted reports to SharePoint site</a:t>
            </a:r>
          </a:p>
          <a:p>
            <a:pPr lvl="1"/>
            <a:r>
              <a:rPr lang="en-US" dirty="0"/>
              <a:t>Cumbersome, confusing, manual process via email &amp; tickets</a:t>
            </a:r>
          </a:p>
          <a:p>
            <a:r>
              <a:rPr lang="en-US" dirty="0"/>
              <a:t>Automated workflow approval process</a:t>
            </a:r>
          </a:p>
          <a:p>
            <a:r>
              <a:rPr lang="en-US" dirty="0"/>
              <a:t>Automatically remove unapproved roles or user IDs for SAP systems</a:t>
            </a:r>
          </a:p>
          <a:p>
            <a:r>
              <a:rPr lang="en-US" dirty="0"/>
              <a:t>Only create ticket if changes are needed for non-SAP systems</a:t>
            </a:r>
          </a:p>
          <a:p>
            <a:r>
              <a:rPr lang="en-US" dirty="0"/>
              <a:t>Common, streamlined process for all systems</a:t>
            </a:r>
          </a:p>
          <a:p>
            <a:pPr lvl="1"/>
            <a:r>
              <a:rPr lang="en-US" dirty="0"/>
              <a:t>Same UI and concept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A98539A-66BD-4340-BCAA-AFA0CAD1B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iodic Access Review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388D8F0-F315-465A-9006-FED71A1FA2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0277" y="4098663"/>
            <a:ext cx="3648159" cy="2379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568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CDC57E7-0E14-4C30-AE16-78A1D42A1B6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571500"/>
            <a:ext cx="7620000" cy="571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8917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ssion for Performance Template">
  <a:themeElements>
    <a:clrScheme name="Cooper Standard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5A4"/>
      </a:accent1>
      <a:accent2>
        <a:srgbClr val="EEB211"/>
      </a:accent2>
      <a:accent3>
        <a:srgbClr val="3DA345"/>
      </a:accent3>
      <a:accent4>
        <a:srgbClr val="00AEEF"/>
      </a:accent4>
      <a:accent5>
        <a:srgbClr val="8064A2"/>
      </a:accent5>
      <a:accent6>
        <a:srgbClr val="C0504D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operStandard-Core-Line-Final.potx [Read-Only]" id="{4AF1BB6B-02ED-4EA7-B5D0-28D3E6F5F16F}" vid="{A4C33F85-16A8-46F0-8760-E8EF7A102DF8}"/>
    </a:ext>
  </a:extLst>
</a:theme>
</file>

<file path=ppt/theme/theme2.xml><?xml version="1.0" encoding="utf-8"?>
<a:theme xmlns:a="http://schemas.openxmlformats.org/drawingml/2006/main" name="1_Passion for Performance Template">
  <a:themeElements>
    <a:clrScheme name="Cooper Standard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55A4"/>
      </a:accent1>
      <a:accent2>
        <a:srgbClr val="EEB211"/>
      </a:accent2>
      <a:accent3>
        <a:srgbClr val="3DA345"/>
      </a:accent3>
      <a:accent4>
        <a:srgbClr val="00AEEF"/>
      </a:accent4>
      <a:accent5>
        <a:srgbClr val="8064A2"/>
      </a:accent5>
      <a:accent6>
        <a:srgbClr val="C050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operStandard-Core-Line v5.potx" id="{D8BDEB44-E7A9-4958-89F0-E8E2BAB7B5B3}" vid="{8333D29F-5E5A-4090-9D75-9A7ED16D238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76396897B265143989C50BE7A40C335" ma:contentTypeVersion="3" ma:contentTypeDescription="Create a new document." ma:contentTypeScope="" ma:versionID="79ff50f79aeb152fe327dc2694dd8c4b">
  <xsd:schema xmlns:xsd="http://www.w3.org/2001/XMLSchema" xmlns:xs="http://www.w3.org/2001/XMLSchema" xmlns:p="http://schemas.microsoft.com/office/2006/metadata/properties" xmlns:ns2="5527BA6C-2154-4C37-A8C7-7661D22627A0" targetNamespace="http://schemas.microsoft.com/office/2006/metadata/properties" ma:root="true" ma:fieldsID="4e409251878e70151a210c0ff36c910d" ns2:_="">
    <xsd:import namespace="5527BA6C-2154-4C37-A8C7-7661D22627A0"/>
    <xsd:element name="properties">
      <xsd:complexType>
        <xsd:sequence>
          <xsd:element name="documentManagement">
            <xsd:complexType>
              <xsd:all>
                <xsd:element ref="ns2:Owner" minOccurs="0"/>
                <xsd:element ref="ns2:SPSDescription" minOccurs="0"/>
                <xsd:element ref="ns2: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7BA6C-2154-4C37-A8C7-7661D22627A0" elementFormDefault="qualified">
    <xsd:import namespace="http://schemas.microsoft.com/office/2006/documentManagement/types"/>
    <xsd:import namespace="http://schemas.microsoft.com/office/infopath/2007/PartnerControls"/>
    <xsd:element name="Owner" ma:index="8" nillable="true" ma:displayName="Owner" ma:internalName="Owner">
      <xsd:simpleType>
        <xsd:restriction base="dms:Text"/>
      </xsd:simpleType>
    </xsd:element>
    <xsd:element name="SPSDescription" ma:index="9" nillable="true" ma:displayName="Description" ma:internalName="SPSDescription">
      <xsd:simpleType>
        <xsd:restriction base="dms:Note">
          <xsd:maxLength value="255"/>
        </xsd:restriction>
      </xsd:simpleType>
    </xsd:element>
    <xsd:element name="Status" ma:index="10" nillable="true" ma:displayName="Status" ma:internalName="Status">
      <xsd:simpleType>
        <xsd:restriction base="dms:Choice">
          <xsd:enumeration value="Rough"/>
          <xsd:enumeration value="Draft"/>
          <xsd:enumeration value="In Review"/>
          <xsd:enumeration value="Final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PSDescription xmlns="5527BA6C-2154-4C37-A8C7-7661D22627A0" xsi:nil="true"/>
    <Status xmlns="5527BA6C-2154-4C37-A8C7-7661D22627A0" xsi:nil="true"/>
    <Owner xmlns="5527BA6C-2154-4C37-A8C7-7661D22627A0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7474B3-4533-4A39-BFE6-59ABD484FD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27BA6C-2154-4C37-A8C7-7661D22627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44A6BA-FBAB-4A50-943F-DC679475769F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5527BA6C-2154-4C37-A8C7-7661D22627A0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DAFC110-A59E-422F-AD1C-715F37277B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operStandard-CoreTemplateFinal</Template>
  <TotalTime>163</TotalTime>
  <Words>402</Words>
  <Application>Microsoft Office PowerPoint</Application>
  <PresentationFormat>Widescreen</PresentationFormat>
  <Paragraphs>97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Passion for Performance Template</vt:lpstr>
      <vt:lpstr>1_Passion for Performance Template</vt:lpstr>
      <vt:lpstr>think-cell Slide</vt:lpstr>
      <vt:lpstr>PowerPoint Presentation</vt:lpstr>
      <vt:lpstr>Content</vt:lpstr>
      <vt:lpstr>Introduction</vt:lpstr>
      <vt:lpstr>Challenges</vt:lpstr>
      <vt:lpstr>Standardizing Workflows</vt:lpstr>
      <vt:lpstr>SecurePro – Front End</vt:lpstr>
      <vt:lpstr>Removing Unused Roles</vt:lpstr>
      <vt:lpstr>Periodic Access Review</vt:lpstr>
      <vt:lpstr>PowerPoint Presentation</vt:lpstr>
      <vt:lpstr>PowerPoint Presentation</vt:lpstr>
    </vt:vector>
  </TitlesOfParts>
  <Company>Cooper Standard Automotiv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rnas, Cheryl Ann</dc:creator>
  <cp:lastModifiedBy>Gwendolyn Glasner</cp:lastModifiedBy>
  <cp:revision>20</cp:revision>
  <dcterms:created xsi:type="dcterms:W3CDTF">2019-04-08T15:22:11Z</dcterms:created>
  <dcterms:modified xsi:type="dcterms:W3CDTF">2022-03-07T17:2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76396897B265143989C50BE7A40C335</vt:lpwstr>
  </property>
</Properties>
</file>